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60" r:id="rId3"/>
    <p:sldId id="261" r:id="rId4"/>
    <p:sldId id="272" r:id="rId5"/>
    <p:sldId id="273" r:id="rId6"/>
    <p:sldId id="274" r:id="rId7"/>
    <p:sldId id="264" r:id="rId8"/>
    <p:sldId id="268" r:id="rId9"/>
    <p:sldId id="270" r:id="rId10"/>
    <p:sldId id="271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026"/>
    <p:restoredTop sz="92245"/>
  </p:normalViewPr>
  <p:slideViewPr>
    <p:cSldViewPr snapToGrid="0" snapToObjects="1">
      <p:cViewPr varScale="1">
        <p:scale>
          <a:sx n="118" d="100"/>
          <a:sy n="118" d="100"/>
        </p:scale>
        <p:origin x="1368" y="1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tx1"/>
                </a:solidFill>
                <a:latin typeface="Cambria"/>
                <a:ea typeface="+mn-ea"/>
                <a:cs typeface="Cambria"/>
              </a:defRPr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F872-3749-AE0D-C5135D4C46A8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872-3749-AE0D-C5135D4C46A8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F872-3749-AE0D-C5135D4C46A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Cambria"/>
                    <a:ea typeface="+mn-ea"/>
                    <a:cs typeface="Cambria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2.400000000000006</c:v>
                </c:pt>
                <c:pt idx="1">
                  <c:v>10.3</c:v>
                </c:pt>
                <c:pt idx="2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72-3749-AE0D-C5135D4C46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74015056191604"/>
          <c:y val="0.44196737799226371"/>
          <c:w val="0.32287332504489602"/>
          <c:h val="0.2673245450747167"/>
        </c:manualLayout>
      </c:layout>
      <c:overlay val="0"/>
      <c:spPr>
        <a:noFill/>
        <a:ln w="12700">
          <a:solidFill>
            <a:srgbClr val="002060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6530728013836979"/>
          <c:h val="0.80519955838853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61</c:v>
                </c:pt>
                <c:pt idx="1">
                  <c:v>0.496</c:v>
                </c:pt>
                <c:pt idx="2">
                  <c:v>0.19</c:v>
                </c:pt>
                <c:pt idx="3">
                  <c:v>0.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5.291005291005290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44-C349-A5EC-1C47DA3A06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17</c:v>
                </c:pt>
                <c:pt idx="1">
                  <c:v>0.52700000000000002</c:v>
                </c:pt>
                <c:pt idx="2">
                  <c:v>0.22</c:v>
                </c:pt>
                <c:pt idx="3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7FB9-C446-AD03-2C9339A74A57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7FB9-C446-AD03-2C9339A74A5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FB9-C446-AD03-2C9339A74A5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6.7</c:v>
                </c:pt>
                <c:pt idx="1">
                  <c:v>7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B9-C446-AD03-2C9339A74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1250065441705321"/>
          <c:y val="0.40648946912469863"/>
          <c:w val="0.14849910959008925"/>
          <c:h val="0.18754106682705299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MI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A1B8-6B42-9299-54D9FD1B8A0E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A1B8-6B42-9299-54D9FD1B8A0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1B8-6B42-9299-54D9FD1B8A0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7.8</c:v>
                </c:pt>
                <c:pt idx="1">
                  <c:v>7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B8-6B42-9299-54D9FD1B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9175880111765E-2"/>
          <c:y val="3.2685958297292005E-2"/>
          <c:w val="0.79012719017705402"/>
          <c:h val="0.836380269627659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46</c:v>
                </c:pt>
                <c:pt idx="1">
                  <c:v>8.1000000000000003E-2</c:v>
                </c:pt>
                <c:pt idx="2">
                  <c:v>6.6000000000000003E-2</c:v>
                </c:pt>
                <c:pt idx="3" formatCode="0.0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17-A241-9757-0A7D5DDBF8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7.2033712299131292E-4"/>
                  <c:y val="5.579865824886978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207701419610285E-2"/>
                      <c:h val="6.182687280603480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217-A241-9757-0A7D5DDBF8A4}"/>
                </c:ext>
              </c:extLst>
            </c:dLbl>
            <c:dLbl>
              <c:idx val="2"/>
              <c:layout>
                <c:manualLayout>
                  <c:x val="-1.440560815997167E-3"/>
                  <c:y val="2.78982307688928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9DB-8A45-9D54-F4B0616061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49</c:v>
                </c:pt>
                <c:pt idx="1">
                  <c:v>9.2999999999999999E-2</c:v>
                </c:pt>
                <c:pt idx="2">
                  <c:v>7.4999999999999997E-2</c:v>
                </c:pt>
                <c:pt idx="3" formatCode="0.00%">
                  <c:v>2.240483023772134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17-A241-9757-0A7D5DDBF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5113864"/>
        <c:axId val="1845083768"/>
      </c:barChart>
      <c:catAx>
        <c:axId val="1845113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845083768"/>
        <c:crosses val="autoZero"/>
        <c:auto val="1"/>
        <c:lblAlgn val="ctr"/>
        <c:lblOffset val="100"/>
        <c:noMultiLvlLbl val="0"/>
      </c:catAx>
      <c:valAx>
        <c:axId val="1845083768"/>
        <c:scaling>
          <c:orientation val="minMax"/>
          <c:max val="0.3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45113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546511795414049"/>
          <c:y val="0.41383906015912975"/>
          <c:w val="0.13021319959786801"/>
          <c:h val="0.1500032950666262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8.570460658886230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252</c:v>
                </c:pt>
                <c:pt idx="1">
                  <c:v>0.29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90-A84C-8301-08C9AED6BB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-3.003003003003003E-3"/>
                  <c:y val="-2.856820219628739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70-A44A-A2E4-2F3A5A448514}"/>
                </c:ext>
              </c:extLst>
            </c:dLbl>
            <c:dLbl>
              <c:idx val="1"/>
              <c:layout>
                <c:manualLayout>
                  <c:x val="-1.5015015015015015E-3"/>
                  <c:y val="8.570460658886218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307</c:v>
                </c:pt>
                <c:pt idx="1">
                  <c:v>0.343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90-A84C-8301-08C9AED6B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03831064"/>
        <c:axId val="1905816536"/>
      </c:barChart>
      <c:catAx>
        <c:axId val="1803831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5816536"/>
        <c:crosses val="autoZero"/>
        <c:auto val="1"/>
        <c:lblAlgn val="ctr"/>
        <c:lblOffset val="100"/>
        <c:noMultiLvlLbl val="0"/>
      </c:catAx>
      <c:valAx>
        <c:axId val="1905816536"/>
        <c:scaling>
          <c:orientation val="minMax"/>
          <c:max val="0.35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038310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</a:t>
            </a:r>
          </a:p>
        </c:rich>
      </c:tx>
      <c:layout>
        <c:manualLayout>
          <c:xMode val="edge"/>
          <c:yMode val="edge"/>
          <c:x val="0.29182349856420031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A767-EC43-8893-33B462779E94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A767-EC43-8893-33B462779E94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A767-EC43-8893-33B462779E94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1.8</c:v>
                </c:pt>
                <c:pt idx="1">
                  <c:v>13.6</c:v>
                </c:pt>
                <c:pt idx="2">
                  <c:v>1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67-EC43-8893-33B462779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51.3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5E5-2C4A-99A4-B10D66CC300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.0">
                  <c:v>37.200000000000003</c:v>
                </c:pt>
                <c:pt idx="1">
                  <c:v>11.6</c:v>
                </c:pt>
                <c:pt idx="2">
                  <c:v>5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</a:t>
            </a:r>
          </a:p>
        </c:rich>
      </c:tx>
      <c:layout>
        <c:manualLayout>
          <c:xMode val="edge"/>
          <c:yMode val="edge"/>
          <c:x val="0.29816989787336678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37.5</c:v>
                </c:pt>
                <c:pt idx="1">
                  <c:v>10.199999999999999</c:v>
                </c:pt>
                <c:pt idx="2">
                  <c:v>5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0.799999999999997</c:v>
                </c:pt>
                <c:pt idx="1">
                  <c:v>31.9</c:v>
                </c:pt>
                <c:pt idx="2">
                  <c:v>2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</a:t>
            </a:r>
          </a:p>
        </c:rich>
      </c:tx>
      <c:layout>
        <c:manualLayout>
          <c:xMode val="edge"/>
          <c:yMode val="edge"/>
          <c:x val="0.29816989787336678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ay Person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</c:v>
                </c:pt>
                <c:pt idx="1">
                  <c:v>31.3</c:v>
                </c:pt>
                <c:pt idx="2">
                  <c:v>2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0670854288363782</c:v>
                </c:pt>
                <c:pt idx="1">
                  <c:v>6.0885221711554992E-2</c:v>
                </c:pt>
                <c:pt idx="2">
                  <c:v>0.2324062354048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</a:t>
            </a:r>
          </a:p>
        </c:rich>
      </c:tx>
      <c:layout>
        <c:manualLayout>
          <c:xMode val="edge"/>
          <c:yMode val="edge"/>
          <c:x val="0.29816989787336678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62436657681940699</c:v>
                </c:pt>
                <c:pt idx="1">
                  <c:v>9.8328840970350398E-2</c:v>
                </c:pt>
                <c:pt idx="2">
                  <c:v>0.27730458221024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4533800210457601"/>
          <c:h val="0.84615392883992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35599999999999998</c:v>
                </c:pt>
                <c:pt idx="1">
                  <c:v>9.0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1.5360983102918587E-3"/>
                  <c:y val="-1.944466742009348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158157649648636E-2"/>
                      <c:h val="3.726400640070131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F05-7443-BC7E-0D728FDF7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4</c:v>
                </c:pt>
                <c:pt idx="1">
                  <c:v>0.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0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>
  <cs:dataPoint3D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B44AE-05A4-47C5-9742-293DD23B97B6}" type="datetimeFigureOut">
              <a:rPr lang="en-US" smtClean="0"/>
              <a:t>4/27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53EB-1A86-4C4E-BBAC-8CFA3C805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21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57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9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37338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31015" y="4279478"/>
            <a:ext cx="4330016" cy="13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50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01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1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37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mbria"/>
                <a:cs typeface="Cambr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1891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13163"/>
            <a:ext cx="4038600" cy="2189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2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 dirty="0"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8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69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735BC-9D73-6044-AB28-C9EE5BA20DC0}" type="datetimeFigureOut">
              <a:rPr lang="en-US" smtClean="0"/>
              <a:t>4/27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D9FD-757C-FE4F-BB7B-1478392C0E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6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Cambria"/>
          <a:ea typeface="+mj-ea"/>
          <a:cs typeface="Cambr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S 2022 National Report Summary: Michigan</a:t>
            </a:r>
          </a:p>
        </p:txBody>
      </p:sp>
    </p:spTree>
    <p:extLst>
      <p:ext uri="{BB962C8B-B14F-4D97-AF65-F5344CB8AC3E}">
        <p14:creationId xmlns:p14="http://schemas.microsoft.com/office/powerpoint/2010/main" val="202866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urvival Rates: Bystander Witnessed Shockable Rhythm</a:t>
            </a:r>
          </a:p>
        </p:txBody>
      </p:sp>
      <p:graphicFrame>
        <p:nvGraphicFramePr>
          <p:cNvPr id="4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727316332"/>
              </p:ext>
            </p:extLst>
          </p:nvPr>
        </p:nvGraphicFramePr>
        <p:xfrm>
          <a:off x="347868" y="1468281"/>
          <a:ext cx="8458200" cy="4445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= Witnessed by bystander and found in a shockable 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Bystander = Witnessed by bystander, found in shockable rhythm, and received some bystander intervention (CPR and/or AED application</a:t>
            </a:r>
            <a:r>
              <a:rPr lang="en-US" sz="1100" dirty="0">
                <a:solidFill>
                  <a:srgbClr val="000000"/>
                </a:solidFill>
                <a:latin typeface="Cambria"/>
                <a:cs typeface="Cambria"/>
              </a:rPr>
              <a:t>)</a:t>
            </a:r>
            <a:endParaRPr lang="en-US" sz="1100" i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98472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rre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215568264"/>
              </p:ext>
            </p:extLst>
          </p:nvPr>
        </p:nvGraphicFramePr>
        <p:xfrm>
          <a:off x="-113875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A568D3DC-4C98-674C-BF38-9C10CF4CA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9019557"/>
              </p:ext>
            </p:extLst>
          </p:nvPr>
        </p:nvGraphicFramePr>
        <p:xfrm>
          <a:off x="5335199" y="1417638"/>
          <a:ext cx="470434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2347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est Witness Status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3250705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1201798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9241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nitiated CPR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5767976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3759084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97955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857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Was an AED Applied </a:t>
            </a:r>
            <a:br>
              <a:rPr lang="en-US" dirty="0"/>
            </a:br>
            <a:r>
              <a:rPr lang="en-US" dirty="0"/>
              <a:t>prior to EMS arrival?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6520205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7875430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7504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ystander Intervention Rates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120164173"/>
              </p:ext>
            </p:extLst>
          </p:nvPr>
        </p:nvGraphicFramePr>
        <p:xfrm>
          <a:off x="533400" y="1500809"/>
          <a:ext cx="8267700" cy="457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7F5F705-F5A9-164E-97D6-785C209DE5CA}"/>
              </a:ext>
            </a:extLst>
          </p:cNvPr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Bystander CPR rate excludes 911 Responder Witnessed, Nursing Home, and Healthcare Facility arre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Public AED Use rate excludes 911 Responder Witnessed, Home/Residence, Nursing Home, and Healthcare Facility arrests.</a:t>
            </a:r>
          </a:p>
        </p:txBody>
      </p:sp>
    </p:spTree>
    <p:extLst>
      <p:ext uri="{BB962C8B-B14F-4D97-AF65-F5344CB8AC3E}">
        <p14:creationId xmlns:p14="http://schemas.microsoft.com/office/powerpoint/2010/main" val="3276704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Arrest Rhythm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954822165"/>
              </p:ext>
            </p:extLst>
          </p:nvPr>
        </p:nvGraphicFramePr>
        <p:xfrm>
          <a:off x="419100" y="1417638"/>
          <a:ext cx="82677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3484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ed ROSC in the field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397343303"/>
              </p:ext>
            </p:extLst>
          </p:nvPr>
        </p:nvGraphicFramePr>
        <p:xfrm>
          <a:off x="152400" y="1371600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3B0789E3-637F-A244-B2FD-3DD00938CB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1152150"/>
              </p:ext>
            </p:extLst>
          </p:nvPr>
        </p:nvGraphicFramePr>
        <p:xfrm>
          <a:off x="5098774" y="1371599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83343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ival Rates: Overall Survival</a:t>
            </a: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01182808"/>
              </p:ext>
            </p:extLst>
          </p:nvPr>
        </p:nvGraphicFramePr>
        <p:xfrm>
          <a:off x="188843" y="1550504"/>
          <a:ext cx="8816011" cy="4552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73103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5</TotalTime>
  <Words>144</Words>
  <Application>Microsoft Macintosh PowerPoint</Application>
  <PresentationFormat>On-screen Show (4:3)</PresentationFormat>
  <Paragraphs>35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mbria</vt:lpstr>
      <vt:lpstr>Office Theme</vt:lpstr>
      <vt:lpstr>CARES 2022 National Report Summary: Michigan</vt:lpstr>
      <vt:lpstr>Location of Arrest</vt:lpstr>
      <vt:lpstr>Arrest Witness Status</vt:lpstr>
      <vt:lpstr>Who Initiated CPR</vt:lpstr>
      <vt:lpstr>Was an AED Applied  prior to EMS arrival?</vt:lpstr>
      <vt:lpstr>Bystander Intervention Rates</vt:lpstr>
      <vt:lpstr>First Arrest Rhythm</vt:lpstr>
      <vt:lpstr>Sustained ROSC in the field</vt:lpstr>
      <vt:lpstr>Survival Rates: Overall Survival</vt:lpstr>
      <vt:lpstr>Survival Rates: Bystander Witnessed Shockable Rhythm</vt:lpstr>
    </vt:vector>
  </TitlesOfParts>
  <Company>Emory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Crouch</dc:creator>
  <cp:lastModifiedBy>Sinkfield, Tiara C.</cp:lastModifiedBy>
  <cp:revision>51</cp:revision>
  <dcterms:created xsi:type="dcterms:W3CDTF">2018-11-12T17:36:49Z</dcterms:created>
  <dcterms:modified xsi:type="dcterms:W3CDTF">2023-04-27T19:04:12Z</dcterms:modified>
</cp:coreProperties>
</file>